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1" r:id="rId8"/>
    <p:sldId id="262" r:id="rId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71" autoAdjust="0"/>
  </p:normalViewPr>
  <p:slideViewPr>
    <p:cSldViewPr>
      <p:cViewPr>
        <p:scale>
          <a:sx n="88" d="100"/>
          <a:sy n="88" d="100"/>
        </p:scale>
        <p:origin x="-876" y="5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588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5" y="6309320"/>
            <a:ext cx="1296143" cy="36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9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jpe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g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g"/><Relationship Id="rId4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g"/><Relationship Id="rId4" Type="http://schemas.openxmlformats.org/officeDocument/2006/relationships/image" Target="../media/image1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jpg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2850420"/>
            <a:ext cx="2857500" cy="165735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2850420"/>
            <a:ext cx="2857500" cy="165735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2850420"/>
            <a:ext cx="2857500" cy="165735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et tours 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err="1" smtClean="0">
                <a:solidFill>
                  <a:srgbClr val="B91B62"/>
                </a:solidFill>
                <a:ea typeface="+mn-ea"/>
                <a:cs typeface="+mn-cs"/>
              </a:rPr>
              <a:t>Rodos</a:t>
            </a: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 Village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284" y="5157192"/>
            <a:ext cx="2925366" cy="8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675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09750"/>
            <a:ext cx="8629650" cy="553998"/>
          </a:xfrm>
          <a:prstGeom prst="rect">
            <a:avLst/>
          </a:prstGeom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968313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10000"/>
          </a:bodyPr>
          <a:lstStyle/>
          <a:p>
            <a:pPr marL="0" marR="0" lvl="0" indent="0" algn="just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Un club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électionn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situatio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idéa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u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d-es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’î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och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u villag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ypiq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indos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Un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club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nnu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econnu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clients pour 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quali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estatio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hôtelièr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le </a:t>
            </a:r>
            <a:r>
              <a:rPr sz="1400" b="1" i="0" u="none" strike="noStrike" dirty="0" err="1" smtClean="0">
                <a:solidFill>
                  <a:srgbClr val="6C6F70"/>
                </a:solidFill>
                <a:latin typeface="Calibri"/>
              </a:rPr>
              <a:t>charme</a:t>
            </a:r>
            <a:r>
              <a:rPr lang="fr-FR" sz="1400" b="1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son architecture à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lanc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lli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offra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plendid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noram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itu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ntrebas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400" b="1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400" b="1" i="1" dirty="0" smtClean="0">
                <a:solidFill>
                  <a:srgbClr val="6C6F70"/>
                </a:solidFill>
                <a:latin typeface="Calibri"/>
              </a:rPr>
              <a:t>A 55 km de l’aéroport de Rhodes, le magnifique village de </a:t>
            </a:r>
            <a:r>
              <a:rPr lang="fr-FR" sz="1400" b="1" i="1" dirty="0" err="1" smtClean="0">
                <a:solidFill>
                  <a:srgbClr val="6C6F70"/>
                </a:solidFill>
                <a:latin typeface="Calibri"/>
              </a:rPr>
              <a:t>Lindos</a:t>
            </a:r>
            <a:r>
              <a:rPr lang="fr-FR" sz="1400" b="1" i="1" dirty="0" smtClean="0">
                <a:solidFill>
                  <a:srgbClr val="6C6F70"/>
                </a:solidFill>
                <a:latin typeface="Calibri"/>
              </a:rPr>
              <a:t> est à 10km, il est classé patrimoine mondial de l’Unesco. </a:t>
            </a:r>
            <a:endParaRPr sz="1400" b="1" i="1" u="none" strike="noStrike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38125" y="3330513"/>
            <a:ext cx="4438650" cy="235074"/>
          </a:xfrm>
          <a:prstGeom prst="rect">
            <a:avLst/>
          </a:prstGeom>
        </p:spPr>
        <p:txBody>
          <a:bodyPr lIns="91440" tIns="45720" rIns="91440" bIns="45720" rtlCol="0">
            <a:normAutofit fontScale="62500" lnSpcReduction="20000"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L’hébergement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qu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lez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573016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rmAutofit fontScale="65000" lnSpcReduction="20000"/>
          </a:bodyPr>
          <a:lstStyle/>
          <a:p>
            <a:pPr marL="0" marR="0" lvl="0" indent="0" algn="just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407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1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âti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rincipal de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tag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scenseur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des annexes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tag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imatis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TV satellite, minibar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empl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ou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es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jour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douch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èche-cheveux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Code A :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standard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A ;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B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standard à usag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individu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type A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o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im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à prix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motionn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type S). Code B : bungalows 1 pièce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- type C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ami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ièc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munican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min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adu</a:t>
            </a: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	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ltes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et 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4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- type F)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5029200"/>
            <a:ext cx="4357687" cy="1123950"/>
          </a:xfrm>
          <a:prstGeom prst="rect">
            <a:avLst/>
          </a:prstGeom>
          <a:noFill/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Son panorama face à la mer
Passer ses journées à la plage : tout à portée de main. Farniente au programme !
Le charme de son architecture à flanc de colline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La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restauration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qu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aimez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Le restaurant principal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indo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etit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jeuner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jeuner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îner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uto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buffets de cuisine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grecq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internationa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avec soirées à </a:t>
            </a:r>
            <a:r>
              <a:rPr sz="1400" i="0" u="none" strike="noStrike" dirty="0" err="1" smtClean="0">
                <a:solidFill>
                  <a:srgbClr val="6C6F70"/>
                </a:solidFill>
                <a:latin typeface="Calibri"/>
              </a:rPr>
              <a:t>thème</a:t>
            </a:r>
            <a:r>
              <a:rPr lang="fr-FR" sz="1400" dirty="0" smtClean="0">
                <a:solidFill>
                  <a:srgbClr val="6C6F70"/>
                </a:solidFill>
                <a:latin typeface="Calibri"/>
              </a:rPr>
              <a:t>.</a:t>
            </a:r>
          </a:p>
          <a:p>
            <a:pPr marL="0" marR="0" lvl="0" indent="0" algn="just" fontAlgn="base"/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
Un restaurant pizzeria à la carte (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réservation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ropose de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pécialité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italienne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ari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laisir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
</a:t>
            </a:r>
            <a:endParaRPr lang="fr-FR" sz="14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5 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bar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o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1 snack-bar à la piscine et 1 bar à 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6" name="Picture 5" descr="D:\Doc\ELDO\Grece\rodo3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Chais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ongu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parasols et serviettes (caution de 15€) à la piscine et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sable et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eti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ale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éparé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la rout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ôtiè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;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cè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'hôt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Avec participation :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lanchisser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boutiques, salon de coiffure (au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itsi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odo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Maris)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Bon à savoir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osibilit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'utilise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onférenc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u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Rod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Maris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2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200" b="1" dirty="0">
              <a:solidFill>
                <a:srgbClr val="6C6F70"/>
              </a:solidFill>
              <a:latin typeface="Calibri"/>
            </a:endParaRPr>
          </a:p>
          <a:p>
            <a:pPr fontAlgn="base"/>
            <a:r>
              <a:rPr lang="fr-FR" sz="1200" b="1" dirty="0" smtClean="0">
                <a:solidFill>
                  <a:srgbClr val="6C6F70"/>
                </a:solidFill>
              </a:rPr>
              <a:t>À proximité : Spa et massages (sur réservation, à l'hôtel </a:t>
            </a:r>
            <a:r>
              <a:rPr lang="fr-FR" sz="1200" b="1" dirty="0" err="1" smtClean="0">
                <a:solidFill>
                  <a:srgbClr val="6C6F70"/>
                </a:solidFill>
              </a:rPr>
              <a:t>Mitsis</a:t>
            </a:r>
            <a:r>
              <a:rPr lang="fr-FR" sz="1200" b="1" dirty="0" smtClean="0">
                <a:solidFill>
                  <a:srgbClr val="6C6F70"/>
                </a:solidFill>
              </a:rPr>
              <a:t> </a:t>
            </a:r>
            <a:r>
              <a:rPr lang="fr-FR" sz="1200" b="1" dirty="0" err="1" smtClean="0">
                <a:solidFill>
                  <a:srgbClr val="6C6F70"/>
                </a:solidFill>
              </a:rPr>
              <a:t>Rodos</a:t>
            </a:r>
            <a:r>
              <a:rPr lang="fr-FR" sz="1200" b="1" dirty="0" smtClean="0">
                <a:solidFill>
                  <a:srgbClr val="6C6F70"/>
                </a:solidFill>
              </a:rPr>
              <a:t> Maris).</a:t>
            </a:r>
          </a:p>
          <a:p>
            <a:pPr marL="0" marR="0" lvl="0" indent="0" algn="l" fontAlgn="base"/>
            <a:endParaRPr sz="12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5" name="Picture 2" descr="D:\Doc\ELDO\Grece\rodo8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famille d'abord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10000"/>
          </a:bodyPr>
          <a:lstStyle/>
          <a:p>
            <a:pPr marL="0" marR="0" lvl="0" indent="0" algn="just" fontAlgn="base"/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équip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cueillent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6j/7 de 9h à 17h30 avec u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haqu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tranch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’âg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out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Petit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3-4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et Mini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4-6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. Pendant les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Maxi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7-10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. Au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d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chasse aux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résor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ournoi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Olympiad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réativ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musica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..) et en soirée (mini disco, spectacles, soirée VIP…).</a:t>
            </a:r>
            <a:r>
              <a:rPr dirty="0"/>
              <a:t/>
            </a:r>
            <a:br>
              <a:rPr dirty="0"/>
            </a:b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imateur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onnent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RDV aux Teens (11 à 13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et aux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14 à 17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6j/7 de 10h à 18h pendant les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d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Internet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idéo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t Wii, baby-foot, séance shooting photos, body painting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portiv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our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de cuisine, et en soirée (cocktail VIP, participation au spectacle …)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la famille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600" b="0" i="0" u="none" strike="noStrike">
                <a:solidFill>
                  <a:srgbClr val="6C6F70"/>
                </a:solidFill>
                <a:latin typeface="Calibri"/>
              </a:rPr>
              <a:t>Les familles pourront profiter d’un bon confort dans nos bungalows famille et de structures dédiées pour les enfants de 3 à 17 ans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5" name="Picture 4" descr="D:\Doc\ELDO\Grece\rodo2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74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D:\Doc\ELDO\Grece\rodo1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23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D:\Doc\ELDO\Grece\rodo4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lvl="0" fontAlgn="base"/>
            <a:r>
              <a:rPr lang="fr-FR" sz="1100" b="1" dirty="0">
                <a:solidFill>
                  <a:srgbClr val="6C6F70"/>
                </a:solidFill>
                <a:latin typeface="Calibri"/>
              </a:rPr>
              <a:t>Sports et </a:t>
            </a:r>
            <a:r>
              <a:rPr lang="fr-FR" sz="1100" b="1" dirty="0" smtClean="0">
                <a:solidFill>
                  <a:srgbClr val="6C6F70"/>
                </a:solidFill>
                <a:latin typeface="Calibri"/>
              </a:rPr>
              <a:t>loisirs:</a:t>
            </a:r>
            <a:endParaRPr lang="fr-FR" sz="1100" b="1" dirty="0">
              <a:solidFill>
                <a:srgbClr val="6C6F70"/>
              </a:solidFill>
              <a:latin typeface="Calibri"/>
            </a:endParaRPr>
          </a:p>
          <a:p>
            <a:pPr lvl="0" fontAlgn="base"/>
            <a:r>
              <a:rPr lang="fr-FR" sz="1100" dirty="0">
                <a:solidFill>
                  <a:srgbClr val="6C6F70"/>
                </a:solidFill>
                <a:latin typeface="Calibri"/>
              </a:rPr>
              <a:t>4 piscines dont 1 couverte. 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Chaque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jour, un programme de sports et d’activités à découvrir 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! Aérobic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, kayak, fitness, beach-volley, football de plage, water-polo, fléchettes, 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poker. Avec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participation : billard, tennis (sur réservation, location de raquettes et balles payante), bateau-banane, VTT et bicyclette, voile, planche à voile (licence obligatoire), plongée, ski nautique, jet ski. </a:t>
            </a:r>
            <a:endParaRPr lang="fr-FR" sz="1100" dirty="0" smtClean="0">
              <a:solidFill>
                <a:srgbClr val="6C6F70"/>
              </a:solidFill>
              <a:latin typeface="Calibri"/>
            </a:endParaRPr>
          </a:p>
          <a:p>
            <a:pPr lvl="0" fontAlgn="base"/>
            <a:r>
              <a:rPr lang="fr-FR" sz="1100" b="1" smtClean="0">
                <a:solidFill>
                  <a:srgbClr val="6C6F70"/>
                </a:solidFill>
                <a:latin typeface="Calibri"/>
              </a:rPr>
              <a:t>Les Jet </a:t>
            </a:r>
            <a:r>
              <a:rPr lang="fr-FR" sz="1100" b="1" dirty="0" err="1">
                <a:solidFill>
                  <a:srgbClr val="6C6F70"/>
                </a:solidFill>
                <a:latin typeface="Calibri"/>
              </a:rPr>
              <a:t>Schools</a:t>
            </a:r>
            <a:r>
              <a:rPr lang="fr-FR" sz="1100" b="1" dirty="0">
                <a:solidFill>
                  <a:srgbClr val="6C6F70"/>
                </a:solidFill>
                <a:latin typeface="Calibri"/>
              </a:rPr>
              <a:t> :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vos cours collectifs de </a:t>
            </a:r>
            <a:r>
              <a:rPr lang="fr-FR" sz="1100" dirty="0" err="1" smtClean="0">
                <a:solidFill>
                  <a:srgbClr val="6C6F70"/>
                </a:solidFill>
                <a:latin typeface="Calibri"/>
              </a:rPr>
              <a:t>sport.Pour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découvrir ou vous perfectionner au fitness en cours collectifs débutants ou avancés : aérobic, </a:t>
            </a:r>
            <a:r>
              <a:rPr lang="fr-FR" sz="1100" dirty="0" err="1">
                <a:solidFill>
                  <a:srgbClr val="6C6F70"/>
                </a:solidFill>
                <a:latin typeface="Calibri"/>
              </a:rPr>
              <a:t>step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, </a:t>
            </a:r>
            <a:r>
              <a:rPr lang="fr-FR" sz="1100" dirty="0" err="1">
                <a:solidFill>
                  <a:srgbClr val="6C6F70"/>
                </a:solidFill>
                <a:latin typeface="Calibri"/>
              </a:rPr>
              <a:t>abdofessiers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, body </a:t>
            </a:r>
            <a:r>
              <a:rPr lang="fr-FR" sz="1100" dirty="0" err="1">
                <a:solidFill>
                  <a:srgbClr val="6C6F70"/>
                </a:solidFill>
                <a:latin typeface="Calibri"/>
              </a:rPr>
              <a:t>sculpt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… 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Le + de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l'animation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Sur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faisa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balad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nocturn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  <a:r>
              <a:rPr dirty="0"/>
              <a:t/>
            </a:r>
            <a:br>
              <a:rPr dirty="0"/>
            </a:b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Avec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spectacles en soirée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200" b="1" i="0" u="none" strike="noStrike" dirty="0" smtClean="0">
              <a:solidFill>
                <a:srgbClr val="6C6F70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12" name="Picture 8" descr="D:\Doc\ELDO\Grece\rodo6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74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D:\Doc\ELDO\Grece\rodo7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8125" y="2562225"/>
            <a:ext cx="8715375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excursions :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Rodo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Village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tr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formul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tout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compri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38675" y="3048000"/>
            <a:ext cx="4267200" cy="31432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Repas:</a:t>
            </a:r>
          </a:p>
          <a:p>
            <a:pPr lvl="0" algn="just" fontAlgn="base"/>
            <a:r>
              <a:rPr lang="fr-FR" sz="1400" dirty="0" smtClean="0">
                <a:solidFill>
                  <a:srgbClr val="6C6F70"/>
                </a:solidFill>
              </a:rPr>
              <a:t>Petit </a:t>
            </a:r>
            <a:r>
              <a:rPr lang="fr-FR" sz="1400" dirty="0">
                <a:solidFill>
                  <a:srgbClr val="6C6F70"/>
                </a:solidFill>
              </a:rPr>
              <a:t>déjeuner jusqu’à </a:t>
            </a:r>
            <a:r>
              <a:rPr lang="fr-FR" sz="1400" dirty="0" smtClean="0">
                <a:solidFill>
                  <a:srgbClr val="6C6F70"/>
                </a:solidFill>
              </a:rPr>
              <a:t>10h. Déjeuner </a:t>
            </a:r>
            <a:r>
              <a:rPr lang="fr-FR" sz="1400" dirty="0">
                <a:solidFill>
                  <a:srgbClr val="6C6F70"/>
                </a:solidFill>
              </a:rPr>
              <a:t>et dîner buffets au restaurant </a:t>
            </a:r>
            <a:r>
              <a:rPr lang="fr-FR" sz="1400" dirty="0" smtClean="0">
                <a:solidFill>
                  <a:srgbClr val="6C6F70"/>
                </a:solidFill>
              </a:rPr>
              <a:t>principal. Pizzeria </a:t>
            </a:r>
            <a:r>
              <a:rPr lang="fr-FR" sz="1400" dirty="0">
                <a:solidFill>
                  <a:srgbClr val="6C6F70"/>
                </a:solidFill>
              </a:rPr>
              <a:t>accessible gratuitement (sur </a:t>
            </a:r>
            <a:r>
              <a:rPr lang="fr-FR" sz="1400" dirty="0" smtClean="0">
                <a:solidFill>
                  <a:srgbClr val="6C6F70"/>
                </a:solidFill>
              </a:rPr>
              <a:t>réservation). Snacks</a:t>
            </a:r>
            <a:r>
              <a:rPr lang="fr-FR" sz="1400" dirty="0">
                <a:solidFill>
                  <a:srgbClr val="6C6F70"/>
                </a:solidFill>
              </a:rPr>
              <a:t>, hamburgers, salades, sandwichs, glaces de 10h à </a:t>
            </a:r>
            <a:r>
              <a:rPr lang="fr-FR" sz="1400" dirty="0" smtClean="0">
                <a:solidFill>
                  <a:srgbClr val="6C6F70"/>
                </a:solidFill>
              </a:rPr>
              <a:t>18h. Pâtisseries</a:t>
            </a:r>
            <a:r>
              <a:rPr lang="fr-FR" sz="1400" dirty="0">
                <a:solidFill>
                  <a:srgbClr val="6C6F70"/>
                </a:solidFill>
              </a:rPr>
              <a:t>, thé et café de 16h30 à 17h30</a:t>
            </a:r>
          </a:p>
          <a:p>
            <a:pPr lvl="0" algn="just" fontAlgn="base"/>
            <a:endParaRPr lang="fr-FR" sz="1400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Boissons:</a:t>
            </a:r>
            <a:endParaRPr lang="fr-FR" sz="1400" b="1" dirty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dirty="0">
                <a:solidFill>
                  <a:srgbClr val="6C6F70"/>
                </a:solidFill>
              </a:rPr>
              <a:t>Boissons locales alcoolisées ou non de 10h à minuit (horaires variables selon les </a:t>
            </a:r>
            <a:r>
              <a:rPr lang="fr-FR" sz="1400" dirty="0" smtClean="0">
                <a:solidFill>
                  <a:srgbClr val="6C6F70"/>
                </a:solidFill>
              </a:rPr>
              <a:t>bars). Pendant </a:t>
            </a:r>
            <a:r>
              <a:rPr lang="fr-FR" sz="1400" dirty="0">
                <a:solidFill>
                  <a:srgbClr val="6C6F70"/>
                </a:solidFill>
              </a:rPr>
              <a:t>les repas : vin local (rosé, blanc et rouge), bière, jus de fruits, </a:t>
            </a:r>
            <a:r>
              <a:rPr lang="fr-FR" sz="1400" dirty="0" smtClean="0">
                <a:solidFill>
                  <a:srgbClr val="6C6F70"/>
                </a:solidFill>
              </a:rPr>
              <a:t>sodas</a:t>
            </a:r>
          </a:p>
          <a:p>
            <a:pPr lvl="0" algn="just" fontAlgn="base"/>
            <a:endParaRPr lang="fr-FR" sz="1400" dirty="0" smtClean="0">
              <a:effectLst/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Sports &amp; loisirs: </a:t>
            </a:r>
            <a:r>
              <a:rPr lang="fr-FR" sz="1400" dirty="0" smtClean="0">
                <a:solidFill>
                  <a:srgbClr val="6C6F70"/>
                </a:solidFill>
              </a:rPr>
              <a:t>voir </a:t>
            </a:r>
            <a:r>
              <a:rPr lang="fr-FR" sz="1400" dirty="0" err="1" smtClean="0">
                <a:solidFill>
                  <a:srgbClr val="6C6F70"/>
                </a:solidFill>
              </a:rPr>
              <a:t>slide</a:t>
            </a:r>
            <a:r>
              <a:rPr lang="fr-FR" sz="1400" dirty="0" smtClean="0">
                <a:solidFill>
                  <a:srgbClr val="6C6F70"/>
                </a:solidFill>
              </a:rPr>
              <a:t> dédié.</a:t>
            </a:r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Clubs: </a:t>
            </a:r>
            <a:r>
              <a:rPr lang="fr-FR" sz="1400" dirty="0" smtClean="0">
                <a:solidFill>
                  <a:srgbClr val="6C6F70"/>
                </a:solidFill>
              </a:rPr>
              <a:t>Pour les enfants et les ados.</a:t>
            </a:r>
            <a:endParaRPr lang="fr-FR" sz="1400" b="1" dirty="0" smtClean="0">
              <a:solidFill>
                <a:srgbClr val="6C6F70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67</Words>
  <Application>Microsoft Office PowerPoint</Application>
  <PresentationFormat>Affichage à l'écran (4:3)</PresentationFormat>
  <Paragraphs>48</Paragraphs>
  <Slides>8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Gabaud, Alexandra</cp:lastModifiedBy>
  <cp:revision>18</cp:revision>
  <dcterms:created xsi:type="dcterms:W3CDTF">2015-03-11T17:26:54Z</dcterms:created>
  <dcterms:modified xsi:type="dcterms:W3CDTF">2015-12-09T12:45:07Z</dcterms:modified>
  <cp:category>PowerPoint</cp:category>
</cp:coreProperties>
</file>